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5"/>
  </p:notesMasterIdLst>
  <p:sldIdLst>
    <p:sldId id="2145706041" r:id="rId2"/>
    <p:sldId id="2145706037" r:id="rId3"/>
    <p:sldId id="2145706040" r:id="rId4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1D1B1E"/>
    <a:srgbClr val="020003"/>
    <a:srgbClr val="DD1D21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7ABFB4-3D09-1FC1-65EA-EFFA01F884D4}" v="7" dt="2024-09-19T13:05:56.926"/>
    <p1510:client id="{CACAA194-7E0D-4388-AC9D-05F1CB5E43F7}" v="321" dt="2024-09-19T14:53:06.9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27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342BBC-DFED-44BC-8274-F2C9FFD025E3}" type="datetimeFigureOut">
              <a:rPr lang="en-GB" smtClean="0"/>
              <a:t>2024-10-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D6690C-9A2F-4114-B48B-CF537D6EB72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64153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con&#10;&#10;Description automatically generated">
            <a:extLst>
              <a:ext uri="{FF2B5EF4-FFF2-40B4-BE49-F238E27FC236}">
                <a16:creationId xmlns:a16="http://schemas.microsoft.com/office/drawing/2014/main" id="{F16E714A-7C12-C54A-9F6A-83252A3FF0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97173" y="0"/>
            <a:ext cx="6300068" cy="6300068"/>
          </a:xfrm>
          <a:prstGeom prst="rect">
            <a:avLst/>
          </a:prstGeom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9CB6004A-5879-014D-BD50-7076E20ACA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1737" y="4176576"/>
            <a:ext cx="9275008" cy="549313"/>
          </a:xfrm>
        </p:spPr>
        <p:txBody>
          <a:bodyPr wrap="square" tIns="36000" anchor="b">
            <a:spAutoFit/>
          </a:bodyPr>
          <a:lstStyle>
            <a:lvl1pPr>
              <a:lnSpc>
                <a:spcPts val="4000"/>
              </a:lnSpc>
              <a:spcAft>
                <a:spcPts val="0"/>
              </a:spcAft>
              <a:defRPr kumimoji="0" lang="nl-NL" sz="4000" b="0" i="0" u="none" strike="noStrike" cap="all" spc="30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marR="0" lvl="0" fontAlgn="auto">
              <a:lnSpc>
                <a:spcPts val="4000"/>
              </a:lnSpc>
              <a:spcAft>
                <a:spcPts val="0"/>
              </a:spcAft>
              <a:buClr>
                <a:srgbClr val="DD1D21"/>
              </a:buClr>
              <a:tabLst/>
            </a:pPr>
            <a:r>
              <a:rPr lang="en-US"/>
              <a:t>PRESENTATION TITLE</a:t>
            </a:r>
            <a:endParaRPr lang="nl-NL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5029B4C-B1D9-C243-BD4A-0296E80352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737" y="4741856"/>
            <a:ext cx="9275008" cy="405683"/>
          </a:xfrm>
        </p:spPr>
        <p:txBody>
          <a:bodyPr wrap="square" tIns="36000" anchor="t">
            <a:spAutoFit/>
          </a:bodyPr>
          <a:lstStyle>
            <a:lvl1pPr>
              <a:lnSpc>
                <a:spcPct val="100000"/>
              </a:lnSpc>
              <a:defRPr kumimoji="0" lang="nl-NL" sz="2400" b="0" i="0" u="none" strike="noStrike" cap="none" spc="20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Light" pitchFamily="2" charset="0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marR="0" lvl="0" fontAlgn="auto">
              <a:lnSpc>
                <a:spcPct val="100000"/>
              </a:lnSpc>
              <a:buClr>
                <a:srgbClr val="DD1D21"/>
              </a:buClr>
              <a:tabLst/>
            </a:pPr>
            <a:r>
              <a:rPr lang="en-US"/>
              <a:t>PRESENTATION SUB-TITLE</a:t>
            </a:r>
            <a:endParaRPr lang="nl-NL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2C3E4E-645B-DE4A-8382-AB1A039B2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1737" y="6079050"/>
            <a:ext cx="3870461" cy="221018"/>
          </a:xfrm>
        </p:spPr>
        <p:txBody>
          <a:bodyPr lIns="0"/>
          <a:lstStyle>
            <a:lvl1pPr>
              <a:lnSpc>
                <a:spcPct val="100000"/>
              </a:lnSpc>
              <a:defRPr kumimoji="0" lang="nl-NL" sz="1200" b="0" i="0" u="none" strike="noStrike" cap="none" spc="0" normalizeH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ld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marR="0" lvl="0" fontAlgn="auto">
              <a:lnSpc>
                <a:spcPct val="100000"/>
              </a:lnSpc>
              <a:buClr>
                <a:srgbClr val="DD1D21"/>
              </a:buClr>
              <a:tabLst/>
            </a:pPr>
            <a:r>
              <a:rPr lang="en-US"/>
              <a:t>Month day, year</a:t>
            </a:r>
            <a:endParaRPr lang="nl-NL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9296D29A-B11F-E94A-9C83-2472B4298A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1737" y="5636189"/>
            <a:ext cx="6020547" cy="313350"/>
          </a:xfrm>
        </p:spPr>
        <p:txBody>
          <a:bodyPr wrap="square" tIns="36000" anchor="t">
            <a:spAutoFit/>
          </a:bodyPr>
          <a:lstStyle>
            <a:lvl1pPr>
              <a:lnSpc>
                <a:spcPct val="100000"/>
              </a:lnSpc>
              <a:defRPr kumimoji="0" lang="nl-NL" sz="1800" b="0" i="0" u="none" strike="noStrike" cap="none" spc="0" normalizeH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Light" pitchFamily="2" charset="0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marR="0" lvl="0" fontAlgn="auto">
              <a:lnSpc>
                <a:spcPct val="100000"/>
              </a:lnSpc>
              <a:buClr>
                <a:srgbClr val="DD1D21"/>
              </a:buClr>
              <a:tabLst/>
            </a:pPr>
            <a:r>
              <a:rPr lang="en-US"/>
              <a:t>Royal Dutch Shell plc</a:t>
            </a:r>
            <a:endParaRPr lang="nl-NL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E9BA1F0-9D2E-1A46-8813-DA353873B3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507" y="2435856"/>
            <a:ext cx="1738132" cy="1738130"/>
          </a:xfrm>
          <a:prstGeom prst="rect">
            <a:avLst/>
          </a:prstGeom>
        </p:spPr>
      </p:pic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6CF5824C-04EE-2A44-A733-4DEE4AD2273A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7128825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Fa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D55CC97-63A7-0441-BC85-5C976867C2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3A45BAA3-DBDB-5343-8FBD-12C1973CC60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CB207B55-0BDF-1243-B6E8-CBA861545F6B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098881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a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able&#10;&#10;Description automatically generated">
            <a:extLst>
              <a:ext uri="{FF2B5EF4-FFF2-40B4-BE49-F238E27FC236}">
                <a16:creationId xmlns:a16="http://schemas.microsoft.com/office/drawing/2014/main" id="{4B599F02-C7DE-EB4A-A96A-8B426005EB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E5C743D0-3553-5E4E-8F9B-DB9A9E781503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1985329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ouble Content - Fa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table&#10;&#10;Description automatically generated">
            <a:extLst>
              <a:ext uri="{FF2B5EF4-FFF2-40B4-BE49-F238E27FC236}">
                <a16:creationId xmlns:a16="http://schemas.microsoft.com/office/drawing/2014/main" id="{CF04A646-6CBA-0344-AE8B-34EB88370E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572A3E8C-CC79-8443-A76B-00A52147C07E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7E49DD8-B9A5-6443-AEE1-BA4ECE0829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8516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1183044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Fa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able&#10;&#10;Description automatically generated">
            <a:extLst>
              <a:ext uri="{FF2B5EF4-FFF2-40B4-BE49-F238E27FC236}">
                <a16:creationId xmlns:a16="http://schemas.microsoft.com/office/drawing/2014/main" id="{0AB3602F-797D-804C-A86D-94753854CA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3A45BAA3-DBDB-5343-8FBD-12C1973CC60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CB207B55-0BDF-1243-B6E8-CBA861545F6B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7355632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oy, drawing, game, table&#10;&#10;Description automatically generated">
            <a:extLst>
              <a:ext uri="{FF2B5EF4-FFF2-40B4-BE49-F238E27FC236}">
                <a16:creationId xmlns:a16="http://schemas.microsoft.com/office/drawing/2014/main" id="{20488403-1D1F-A64F-A576-B77630F93E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572A3E8C-CC79-8443-A76B-00A52147C07E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9384374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ouble Content -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toy, drawing, game, table&#10;&#10;Description automatically generated">
            <a:extLst>
              <a:ext uri="{FF2B5EF4-FFF2-40B4-BE49-F238E27FC236}">
                <a16:creationId xmlns:a16="http://schemas.microsoft.com/office/drawing/2014/main" id="{62F94B77-6D2B-364C-A945-6B0E62410E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572A3E8C-CC79-8443-A76B-00A52147C07E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7E49DD8-B9A5-6443-AEE1-BA4ECE0829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8516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14643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oy, drawing, game, table&#10;&#10;Description automatically generated">
            <a:extLst>
              <a:ext uri="{FF2B5EF4-FFF2-40B4-BE49-F238E27FC236}">
                <a16:creationId xmlns:a16="http://schemas.microsoft.com/office/drawing/2014/main" id="{95BE8608-7339-994A-9D89-1A8344F262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3A45BAA3-DBDB-5343-8FBD-12C1973CC60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3EB62D6B-EB53-2745-B617-6416F7F5CEC7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3650173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Fa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C27B6C47-C43B-6C4C-88BF-F5988C7D31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0FA15B5D-32D3-9E49-8B17-2294245D8D71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0924045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Fa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5A7DFB59-D742-A84F-8E56-03DA8C21BE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0FA15B5D-32D3-9E49-8B17-2294245D8D71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4991286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Fa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91AE8801-EE18-744A-BFE2-67B003ECE3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0FA15B5D-32D3-9E49-8B17-2294245D8D71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4422455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a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C0B641D9-5755-044F-8454-D9F775B53B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E5C743D0-3553-5E4E-8F9B-DB9A9E781503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7359943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Fa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table&#10;&#10;Description automatically generated">
            <a:extLst>
              <a:ext uri="{FF2B5EF4-FFF2-40B4-BE49-F238E27FC236}">
                <a16:creationId xmlns:a16="http://schemas.microsoft.com/office/drawing/2014/main" id="{EFA33DF2-27DE-AF45-8A92-B565CD5618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0FA15B5D-32D3-9E49-8B17-2294245D8D71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995049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toy, drawing, game, table&#10;&#10;Description automatically generated">
            <a:extLst>
              <a:ext uri="{FF2B5EF4-FFF2-40B4-BE49-F238E27FC236}">
                <a16:creationId xmlns:a16="http://schemas.microsoft.com/office/drawing/2014/main" id="{43151B00-1397-9343-98A3-459A57A772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0FA15B5D-32D3-9E49-8B17-2294245D8D71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58476016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Bold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ubble chart&#10;&#10;Description automatically generated">
            <a:extLst>
              <a:ext uri="{FF2B5EF4-FFF2-40B4-BE49-F238E27FC236}">
                <a16:creationId xmlns:a16="http://schemas.microsoft.com/office/drawing/2014/main" id="{62D62D47-2F27-AB4E-8C88-E953FF5AD8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0FA15B5D-32D3-9E49-8B17-2294245D8D71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82585683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slide-grey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4CAF28D1-1AF9-4B41-82D5-5842DBC94B1C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5714127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grey background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8E2C5343-2DC4-2C46-B524-9C52BB74090F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624739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slide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4CAF28D1-1AF9-4B41-82D5-5842DBC94B1C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8950487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8E2C5343-2DC4-2C46-B524-9C52BB74090F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99052039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432F9FF-CC16-6A4D-AADD-D1BEB17354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1999" cy="6858000"/>
          </a:xfrm>
        </p:spPr>
        <p:txBody>
          <a:bodyPr anchor="t"/>
          <a:lstStyle>
            <a:lvl1pPr algn="ctr">
              <a:defRPr/>
            </a:lvl1pPr>
          </a:lstStyle>
          <a:p>
            <a:r>
              <a:rPr lang="en-US"/>
              <a:t>Click centre icon to insert imag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8E2C5343-2DC4-2C46-B524-9C52BB74090F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53019082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2022" y="1568824"/>
            <a:ext cx="3692772" cy="3692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71946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1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4"/>
            <a:ext cx="11171238" cy="4830761"/>
          </a:xfrm>
        </p:spPr>
        <p:txBody>
          <a:bodyPr/>
          <a:lstStyle>
            <a:lvl1pPr marL="0" indent="0" defTabSz="357703">
              <a:lnSpc>
                <a:spcPct val="140000"/>
              </a:lnSpc>
              <a:spcBef>
                <a:spcPts val="0"/>
              </a:spcBef>
              <a:defRPr sz="1800"/>
            </a:lvl1pPr>
            <a:lvl2pPr marL="230397" indent="-230397" defTabSz="357703">
              <a:lnSpc>
                <a:spcPct val="140000"/>
              </a:lnSpc>
              <a:spcBef>
                <a:spcPts val="0"/>
              </a:spcBef>
              <a:defRPr sz="1800"/>
            </a:lvl2pPr>
            <a:lvl3pPr marL="458994" indent="-228597" defTabSz="357703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591" indent="-228597" defTabSz="357703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789" indent="-203198" defTabSz="357703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187" indent="-152398" defTabSz="357703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0661" y="6469199"/>
            <a:ext cx="149080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3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29801391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ouble Content - Fa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608514BA-BE3E-944D-B613-31701C2B53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572A3E8C-CC79-8443-A76B-00A52147C07E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7E49DD8-B9A5-6443-AEE1-BA4ECE0829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8516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7935458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 preserve="1">
  <p:cSld name="1_Title slide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;p2"/>
          <p:cNvSpPr txBox="1">
            <a:spLocks noGrp="1"/>
          </p:cNvSpPr>
          <p:nvPr>
            <p:ph type="sldNum" idx="12"/>
          </p:nvPr>
        </p:nvSpPr>
        <p:spPr>
          <a:xfrm>
            <a:off x="11296132" y="6217455"/>
            <a:ext cx="731489" cy="524813"/>
          </a:xfrm>
          <a:prstGeom prst="rect">
            <a:avLst/>
          </a:prstGeom>
        </p:spPr>
        <p:txBody>
          <a:bodyPr spcFirstLastPara="1" wrap="square" lIns="115175" tIns="115175" rIns="115175" bIns="115175" anchor="ctr" anchorCtr="0">
            <a:noAutofit/>
          </a:bodyPr>
          <a:lstStyle>
            <a:lvl1pPr lvl="0">
              <a:buNone/>
              <a:defRPr sz="847">
                <a:latin typeface="ShellBook" pitchFamily="2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sz="847"/>
          </a:p>
        </p:txBody>
      </p:sp>
    </p:spTree>
    <p:extLst>
      <p:ext uri="{BB962C8B-B14F-4D97-AF65-F5344CB8AC3E}">
        <p14:creationId xmlns:p14="http://schemas.microsoft.com/office/powerpoint/2010/main" val="18517006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Fa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2598873-D84C-7B45-80A8-23AABA5A90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CB207B55-0BDF-1243-B6E8-CBA861545F6B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0735685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a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9889F524-86A4-5A48-AB0C-C444056064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E5C743D0-3553-5E4E-8F9B-DB9A9E781503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8975524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ouble Content - Fa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7785FB7C-CC9C-BE4D-AA29-7590A96F3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572A3E8C-CC79-8443-A76B-00A52147C07E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7E49DD8-B9A5-6443-AEE1-BA4ECE0829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8516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063541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Fa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A965F04-D5B4-064C-B267-E743B79E80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3A45BAA3-DBDB-5343-8FBD-12C1973CC60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CB207B55-0BDF-1243-B6E8-CBA861545F6B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69606280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a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11B6022-7977-4B41-AD65-5B9E50F84B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E5C743D0-3553-5E4E-8F9B-DB9A9E781503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6698753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ouble Content - Fa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B92C149C-49C3-624E-B7F5-17F25C5A4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572A3E8C-CC79-8443-A76B-00A52147C07E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7E49DD8-B9A5-6443-AEE1-BA4ECE0829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8516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684749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E5DA69-30C7-4FE3-64DA-2E31138517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601698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38" imgH="338" progId="TCLayout.ActiveDocument.1">
                  <p:embed/>
                </p:oleObj>
              </mc:Choice>
              <mc:Fallback>
                <p:oleObj name="think-cell Slide" r:id="rId33" imgW="338" imgH="33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E5DA69-30C7-4FE3-64DA-2E3113851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2259" y="1528763"/>
            <a:ext cx="11164020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532" y="517117"/>
            <a:ext cx="11164020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  <a:endParaRPr lang="en-GB"/>
          </a:p>
        </p:txBody>
      </p:sp>
      <p:sp>
        <p:nvSpPr>
          <p:cNvPr id="17" name="Rectangle 6" descr="Rectangle 6">
            <a:extLst>
              <a:ext uri="{FF2B5EF4-FFF2-40B4-BE49-F238E27FC236}">
                <a16:creationId xmlns:a16="http://schemas.microsoft.com/office/drawing/2014/main" id="{B39F8AAD-1FF4-4DC2-ADD1-D474246B00F9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57248"/>
            <a:ext cx="355564" cy="1629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lang="en-GB" sz="850" baseline="0" noProof="1" smtClean="0">
                <a:latin typeface="ShellBook" panose="00000500000000000000" pitchFamily="50" charset="0"/>
                <a:cs typeface="+mn-cs"/>
              </a:defRPr>
            </a:lvl1pPr>
          </a:lstStyle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itchFamily="2" charset="2"/>
              <a:buNone/>
            </a:pPr>
            <a:fld id="{D32BAE6A-B452-4007-8177-56DD051636F9}" type="slidenum">
              <a:rPr lang="nl-NL" smtClean="0"/>
              <a:pPr defTabSz="357708">
                <a:lnSpc>
                  <a:spcPct val="140000"/>
                </a:lnSpc>
                <a:buClr>
                  <a:schemeClr val="accent2"/>
                </a:buClr>
                <a:buSzPct val="85000"/>
                <a:buFont typeface="Wingdings" pitchFamily="2" charset="2"/>
                <a:buNone/>
              </a:pPr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67231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711" r:id="rId28"/>
    <p:sldLayoutId id="2147483712" r:id="rId29"/>
    <p:sldLayoutId id="2147483713" r:id="rId30"/>
  </p:sldLayoutIdLst>
  <p:transition>
    <p:fade/>
  </p:transition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2800" b="0" kern="1200" cap="none" spc="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1200"/>
        </a:spcAft>
        <a:buClr>
          <a:schemeClr val="accent2"/>
        </a:buClr>
        <a:buSzPct val="85000"/>
        <a:buFont typeface="Wingdings" pitchFamily="2" charset="2"/>
        <a:buNone/>
        <a:defRPr sz="1400" kern="1200" baseline="0">
          <a:solidFill>
            <a:schemeClr val="tx1"/>
          </a:solidFill>
          <a:latin typeface="ShellBook" panose="00000500000000000000" pitchFamily="50" charset="0"/>
          <a:ea typeface="+mn-ea"/>
          <a:cs typeface="+mn-cs"/>
        </a:defRPr>
      </a:lvl1pPr>
      <a:lvl2pPr marL="180975" indent="-180975" algn="l" defTabSz="357708" rtl="0" eaLnBrk="1" latinLnBrk="0" hangingPunct="1">
        <a:lnSpc>
          <a:spcPct val="140000"/>
        </a:lnSpc>
        <a:spcBef>
          <a:spcPts val="0"/>
        </a:spcBef>
        <a:spcAft>
          <a:spcPts val="1200"/>
        </a:spcAft>
        <a:buClr>
          <a:schemeClr val="accent2"/>
        </a:buClr>
        <a:buSzPct val="85000"/>
        <a:buFont typeface="Wingdings" panose="05000000000000000000" pitchFamily="2" charset="2"/>
        <a:buChar char="n"/>
        <a:tabLst/>
        <a:defRPr sz="1400" b="0" kern="1200">
          <a:solidFill>
            <a:schemeClr val="tx1"/>
          </a:solidFill>
          <a:latin typeface="ShellBook" panose="00000500000000000000" pitchFamily="50" charset="0"/>
          <a:ea typeface="+mn-ea"/>
          <a:cs typeface="+mn-cs"/>
        </a:defRPr>
      </a:lvl2pPr>
      <a:lvl3pPr marL="361950" indent="-180975" algn="l" defTabSz="357708" rtl="0" eaLnBrk="1" latinLnBrk="0" hangingPunct="1">
        <a:lnSpc>
          <a:spcPct val="140000"/>
        </a:lnSpc>
        <a:spcBef>
          <a:spcPts val="0"/>
        </a:spcBef>
        <a:spcAft>
          <a:spcPts val="1200"/>
        </a:spcAft>
        <a:buClr>
          <a:schemeClr val="accent2"/>
        </a:buClr>
        <a:buSzPct val="85000"/>
        <a:buFont typeface="Wingdings" panose="05000000000000000000" pitchFamily="2" charset="2"/>
        <a:buChar char="n"/>
        <a:tabLst/>
        <a:defRPr sz="1400" b="0" kern="1200">
          <a:solidFill>
            <a:schemeClr val="tx1"/>
          </a:solidFill>
          <a:latin typeface="ShellBook" panose="00000500000000000000" pitchFamily="50" charset="0"/>
          <a:ea typeface="+mn-ea"/>
          <a:cs typeface="+mn-cs"/>
        </a:defRPr>
      </a:lvl3pPr>
      <a:lvl4pPr marL="534988" indent="-173038" algn="l" defTabSz="357708" rtl="0" eaLnBrk="1" latinLnBrk="0" hangingPunct="1">
        <a:lnSpc>
          <a:spcPct val="140000"/>
        </a:lnSpc>
        <a:spcBef>
          <a:spcPts val="0"/>
        </a:spcBef>
        <a:spcAft>
          <a:spcPts val="1200"/>
        </a:spcAft>
        <a:buClr>
          <a:schemeClr val="accent2"/>
        </a:buClr>
        <a:buSzPct val="85000"/>
        <a:buFont typeface="Wingdings" panose="05000000000000000000" pitchFamily="2" charset="2"/>
        <a:buChar char="n"/>
        <a:tabLst/>
        <a:defRPr sz="1400" b="0" kern="1200" baseline="0">
          <a:solidFill>
            <a:schemeClr val="tx1"/>
          </a:solidFill>
          <a:latin typeface="ShellBook" panose="00000500000000000000" pitchFamily="50" charset="0"/>
          <a:ea typeface="+mn-ea"/>
          <a:cs typeface="+mn-cs"/>
        </a:defRPr>
      </a:lvl4pPr>
      <a:lvl5pPr marL="715963" indent="-180975" algn="l" defTabSz="357708" rtl="0" eaLnBrk="1" latinLnBrk="0" hangingPunct="1">
        <a:lnSpc>
          <a:spcPct val="140000"/>
        </a:lnSpc>
        <a:spcBef>
          <a:spcPts val="0"/>
        </a:spcBef>
        <a:spcAft>
          <a:spcPts val="1200"/>
        </a:spcAft>
        <a:buClr>
          <a:schemeClr val="accent2"/>
        </a:buClr>
        <a:buSzPct val="85000"/>
        <a:buFont typeface="Wingdings" panose="05000000000000000000" pitchFamily="2" charset="2"/>
        <a:buChar char="n"/>
        <a:tabLst/>
        <a:defRPr sz="1400" kern="1200">
          <a:solidFill>
            <a:schemeClr val="tx1"/>
          </a:solidFill>
          <a:latin typeface="ShellBook" panose="00000500000000000000" pitchFamily="50" charset="0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166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960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1.emf"/><Relationship Id="rId5" Type="http://schemas.openxmlformats.org/officeDocument/2006/relationships/package" Target="../embeddings/Microsoft_Excel_Worksheet.xlsx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9F2AFA9-84E3-4844-B9B1-D6D461684C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1737" y="3663616"/>
            <a:ext cx="9275008" cy="1062273"/>
          </a:xfrm>
        </p:spPr>
        <p:txBody>
          <a:bodyPr/>
          <a:lstStyle/>
          <a:p>
            <a:r>
              <a:rPr lang="en-GB"/>
              <a:t>SOKU LPNAG SUCTION PRESSURE DRO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344862-9D42-0382-FD43-7CA09F412A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37 TO 33.7 BAR | ADDITIONAL 16MMSCF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E2C8AF-DFB2-EEC2-22E9-81332F96AB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SEP 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40399F-429A-27FF-E9DC-D07ADDDEA8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OKU, SPDC</a:t>
            </a:r>
          </a:p>
        </p:txBody>
      </p:sp>
    </p:spTree>
    <p:extLst>
      <p:ext uri="{BB962C8B-B14F-4D97-AF65-F5344CB8AC3E}">
        <p14:creationId xmlns:p14="http://schemas.microsoft.com/office/powerpoint/2010/main" val="192355455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B2CBBCD-374E-E1C3-9E03-54B3A9C1FF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807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2CBBCD-374E-E1C3-9E03-54B3A9C1F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>
            <a:extLst>
              <a:ext uri="{FF2B5EF4-FFF2-40B4-BE49-F238E27FC236}">
                <a16:creationId xmlns:a16="http://schemas.microsoft.com/office/drawing/2014/main" id="{7E5E6661-6F42-836B-4BC6-5EB4CC215D11}"/>
              </a:ext>
            </a:extLst>
          </p:cNvPr>
          <p:cNvSpPr/>
          <p:nvPr/>
        </p:nvSpPr>
        <p:spPr>
          <a:xfrm>
            <a:off x="9336024" y="0"/>
            <a:ext cx="2855976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3DF455-2371-1947-AA74-45BF74326D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9973" y="6469199"/>
            <a:ext cx="89768" cy="17697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850" b="0" i="0" u="none" strike="noStrike" kern="1200" cap="none" spc="0" normalizeH="0" baseline="0" noProof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itchFamily="2" charset="0"/>
              <a:ea typeface="+mn-ea"/>
              <a:cs typeface="Arial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0383E9-9F60-5D4B-8E89-42865A61E5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latin typeface="ShellLight" pitchFamily="2" charset="0"/>
              </a:rPr>
              <a:t>LPNAG SUCTION PRESSURE DERATING</a:t>
            </a:r>
            <a:br>
              <a:rPr lang="en-US"/>
            </a:br>
            <a:r>
              <a:rPr lang="en-US"/>
              <a:t>ADDITIONAL </a:t>
            </a:r>
            <a:r>
              <a:rPr lang="en-US">
                <a:solidFill>
                  <a:srgbClr val="DD1D21"/>
                </a:solidFill>
              </a:rPr>
              <a:t>16MMSCFD </a:t>
            </a:r>
            <a:r>
              <a:rPr lang="en-US"/>
              <a:t>HEALTHY TURBINE AND COMPRESSO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27870F4-F1E1-42D6-B7E7-62FDE5236990}"/>
              </a:ext>
            </a:extLst>
          </p:cNvPr>
          <p:cNvSpPr/>
          <p:nvPr/>
        </p:nvSpPr>
        <p:spPr>
          <a:xfrm>
            <a:off x="508531" y="1569859"/>
            <a:ext cx="1080000" cy="11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37 </a:t>
            </a:r>
            <a:r>
              <a:rPr lang="en-GB" sz="1600">
                <a:solidFill>
                  <a:srgbClr val="404040"/>
                </a:solidFill>
                <a:latin typeface="ShellBold"/>
              </a:rPr>
              <a:t>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33.7 </a:t>
            </a:r>
            <a:r>
              <a:rPr lang="en-GB" sz="1600">
                <a:solidFill>
                  <a:srgbClr val="404040"/>
                </a:solidFill>
                <a:latin typeface="ShellBold"/>
              </a:rPr>
              <a:t>bar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ld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02BB558-F834-4FF6-9F10-27F469672739}"/>
              </a:ext>
            </a:extLst>
          </p:cNvPr>
          <p:cNvSpPr/>
          <p:nvPr/>
        </p:nvSpPr>
        <p:spPr>
          <a:xfrm>
            <a:off x="508531" y="2901859"/>
            <a:ext cx="1080000" cy="11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16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MMSCF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2F6D89A-97BE-44A5-802B-05306265F2F6}"/>
              </a:ext>
            </a:extLst>
          </p:cNvPr>
          <p:cNvSpPr/>
          <p:nvPr/>
        </p:nvSpPr>
        <p:spPr>
          <a:xfrm>
            <a:off x="508531" y="4233859"/>
            <a:ext cx="1080000" cy="11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STAB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404040"/>
                </a:solidFill>
                <a:latin typeface="ShellBold"/>
              </a:rPr>
              <a:t>PARAM.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ld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EAD0205-FAEA-4F69-9EE4-1BF4606182E7}"/>
              </a:ext>
            </a:extLst>
          </p:cNvPr>
          <p:cNvSpPr/>
          <p:nvPr/>
        </p:nvSpPr>
        <p:spPr>
          <a:xfrm>
            <a:off x="514200" y="5645387"/>
            <a:ext cx="5581799" cy="70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201613" marR="0" lvl="0" indent="-201613" algn="l" defTabSz="35770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lang="en-US" sz="1400">
                <a:solidFill>
                  <a:srgbClr val="404040"/>
                </a:solidFill>
                <a:latin typeface="ShellBook" pitchFamily="2" charset="0"/>
              </a:rPr>
              <a:t>P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os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 test data review indicated room to increase the production by further opening W36 and 39 chokes.</a:t>
            </a:r>
          </a:p>
          <a:p>
            <a:pPr marL="201613" marR="0" lvl="0" indent="-201613" algn="l" defTabSz="35770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Water Evacuation remains a challenge in bringing additional wells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itchFamily="2" charset="0"/>
              <a:ea typeface="+mn-ea"/>
              <a:cs typeface="+mn-cs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6B22AB2-E593-478D-8E1C-46BDC9A595BB}"/>
              </a:ext>
            </a:extLst>
          </p:cNvPr>
          <p:cNvCxnSpPr/>
          <p:nvPr/>
        </p:nvCxnSpPr>
        <p:spPr>
          <a:xfrm>
            <a:off x="513990" y="6362839"/>
            <a:ext cx="11164020" cy="0"/>
          </a:xfrm>
          <a:prstGeom prst="line">
            <a:avLst/>
          </a:prstGeom>
          <a:ln w="38100">
            <a:solidFill>
              <a:srgbClr val="FBCE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A4AD474-AD6F-4557-81B6-6487D397FC5E}"/>
              </a:ext>
            </a:extLst>
          </p:cNvPr>
          <p:cNvCxnSpPr>
            <a:cxnSpLocks/>
          </p:cNvCxnSpPr>
          <p:nvPr/>
        </p:nvCxnSpPr>
        <p:spPr>
          <a:xfrm>
            <a:off x="1660190" y="1569859"/>
            <a:ext cx="0" cy="1152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CF61791-D740-4252-B9D2-00C7DC1DF79A}"/>
              </a:ext>
            </a:extLst>
          </p:cNvPr>
          <p:cNvCxnSpPr>
            <a:cxnSpLocks/>
          </p:cNvCxnSpPr>
          <p:nvPr/>
        </p:nvCxnSpPr>
        <p:spPr>
          <a:xfrm>
            <a:off x="1660190" y="2901859"/>
            <a:ext cx="0" cy="1152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88E54FB-D815-470A-A81D-D764CEDD173A}"/>
              </a:ext>
            </a:extLst>
          </p:cNvPr>
          <p:cNvCxnSpPr>
            <a:cxnSpLocks/>
          </p:cNvCxnSpPr>
          <p:nvPr/>
        </p:nvCxnSpPr>
        <p:spPr>
          <a:xfrm>
            <a:off x="1660190" y="4233859"/>
            <a:ext cx="0" cy="1152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4F80A83E-4662-44DF-8F33-3F7440F70599}"/>
              </a:ext>
            </a:extLst>
          </p:cNvPr>
          <p:cNvSpPr/>
          <p:nvPr/>
        </p:nvSpPr>
        <p:spPr>
          <a:xfrm>
            <a:off x="1803767" y="1569859"/>
            <a:ext cx="4212000" cy="11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TEST PROCEDU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ea typeface="+mn-ea"/>
                <a:cs typeface="+mn-cs"/>
              </a:rPr>
              <a:t>Decrease pressure from 37 bar to 33.7 bar in 0.5 bar step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ea typeface="+mn-ea"/>
                <a:cs typeface="+mn-cs"/>
              </a:rPr>
              <a:t>Held each pressure for 2 hours and recorded parameter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ea typeface="+mn-ea"/>
                <a:cs typeface="+mn-cs"/>
              </a:rPr>
              <a:t>Ensured parameters stay within turbine and compressor specs.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charset="0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BF30E4C-BA4C-460C-AE2B-859F0A8D60ED}"/>
              </a:ext>
            </a:extLst>
          </p:cNvPr>
          <p:cNvSpPr/>
          <p:nvPr/>
        </p:nvSpPr>
        <p:spPr>
          <a:xfrm>
            <a:off x="1803767" y="4233859"/>
            <a:ext cx="4212000" cy="11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1400">
                <a:solidFill>
                  <a:srgbClr val="404040"/>
                </a:solidFill>
                <a:latin typeface="ShellBold"/>
              </a:rPr>
              <a:t>HEALTHY PARAMETERS IN ALL THE STEPS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ld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ea typeface="+mn-ea"/>
                <a:cs typeface="+mn-cs"/>
              </a:rPr>
              <a:t>Temperature, pressure, speed, and vibration were all within specification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ea typeface="+mn-ea"/>
                <a:cs typeface="+mn-cs"/>
              </a:rPr>
              <a:t>Auxiliary equipment (seal gas, lube oil, etc.) also met specifications.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charset="0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1149D5A-05D9-47B3-A1A4-A0790A38C086}"/>
              </a:ext>
            </a:extLst>
          </p:cNvPr>
          <p:cNvSpPr/>
          <p:nvPr/>
        </p:nvSpPr>
        <p:spPr>
          <a:xfrm>
            <a:off x="1803767" y="2901859"/>
            <a:ext cx="4212000" cy="11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5720" rIns="3600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1400">
                <a:solidFill>
                  <a:srgbClr val="404040"/>
                </a:solidFill>
                <a:latin typeface="ShellBold"/>
              </a:rPr>
              <a:t>UP BY 16MMSCF, PARAMETERS MET SPEC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ld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ea typeface="+mn-ea"/>
                <a:cs typeface="+mn-cs"/>
              </a:rPr>
              <a:t>Flow increased 133 to 149mmscf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srgbClr val="404040"/>
                </a:solidFill>
                <a:latin typeface="ShellBook" panose="00000500000000000000" charset="0"/>
              </a:rPr>
              <a:t>Compressor pressure: 82 to 85 bar (Trip: 110 bar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srgbClr val="404040"/>
                </a:solidFill>
                <a:latin typeface="ShellBook" panose="00000500000000000000" charset="0"/>
              </a:rPr>
              <a:t>Turbine EGT: 1,289 to 1,331°F (Trip: 1427°F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/>
              </a:rPr>
              <a:t>Turbine RPM: 5,911 to </a:t>
            </a:r>
            <a:r>
              <a:rPr lang="en-US" sz="1400">
                <a:solidFill>
                  <a:srgbClr val="404040"/>
                </a:solidFill>
                <a:latin typeface="ShellBook"/>
              </a:rPr>
              <a:t>6,400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/>
              </a:rPr>
              <a:t> (Trip: </a:t>
            </a:r>
            <a:r>
              <a:rPr lang="en-US" sz="1400">
                <a:solidFill>
                  <a:srgbClr val="404040"/>
                </a:solidFill>
                <a:latin typeface="ShellBook"/>
              </a:rPr>
              <a:t>6500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/>
              </a:rPr>
              <a:t> RPM)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/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0BFB9CE8-5762-52BD-204B-8299EF321AAA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3660687846"/>
              </p:ext>
            </p:extLst>
          </p:nvPr>
        </p:nvGraphicFramePr>
        <p:xfrm>
          <a:off x="6159344" y="1206532"/>
          <a:ext cx="5520399" cy="5073804"/>
        </p:xfrm>
        <a:graphic>
          <a:graphicData uri="http://schemas.openxmlformats.org/drawingml/2006/table">
            <a:tbl>
              <a:tblPr firstRow="1">
                <a:tableStyleId>{793D81CF-94F2-401A-BA57-92F5A7B2D0C5}</a:tableStyleId>
              </a:tblPr>
              <a:tblGrid>
                <a:gridCol w="2990493">
                  <a:extLst>
                    <a:ext uri="{9D8B030D-6E8A-4147-A177-3AD203B41FA5}">
                      <a16:colId xmlns:a16="http://schemas.microsoft.com/office/drawing/2014/main" val="3702918853"/>
                    </a:ext>
                  </a:extLst>
                </a:gridCol>
                <a:gridCol w="623021">
                  <a:extLst>
                    <a:ext uri="{9D8B030D-6E8A-4147-A177-3AD203B41FA5}">
                      <a16:colId xmlns:a16="http://schemas.microsoft.com/office/drawing/2014/main" val="2956780815"/>
                    </a:ext>
                  </a:extLst>
                </a:gridCol>
                <a:gridCol w="623021">
                  <a:extLst>
                    <a:ext uri="{9D8B030D-6E8A-4147-A177-3AD203B41FA5}">
                      <a16:colId xmlns:a16="http://schemas.microsoft.com/office/drawing/2014/main" val="3431924780"/>
                    </a:ext>
                  </a:extLst>
                </a:gridCol>
                <a:gridCol w="569617">
                  <a:extLst>
                    <a:ext uri="{9D8B030D-6E8A-4147-A177-3AD203B41FA5}">
                      <a16:colId xmlns:a16="http://schemas.microsoft.com/office/drawing/2014/main" val="461949880"/>
                    </a:ext>
                  </a:extLst>
                </a:gridCol>
                <a:gridCol w="714247">
                  <a:extLst>
                    <a:ext uri="{9D8B030D-6E8A-4147-A177-3AD203B41FA5}">
                      <a16:colId xmlns:a16="http://schemas.microsoft.com/office/drawing/2014/main" val="2437147784"/>
                    </a:ext>
                  </a:extLst>
                </a:gridCol>
              </a:tblGrid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ARAMETER DESCRIP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Delta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ercentag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SP 33.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SP 37 (as found)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69836013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Set Point (21UIC802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3.3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33.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37.0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352445829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Comp. Suction Pressure [Trip Point = 50barg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-                  3.2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-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34.7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37.9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305966113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Comp. Discharge Pressure [Trip Point = 110barg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2.4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85.1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82.7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1695030297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Export Pressure Plant static  (EGGS) [Trip Point = 95 barg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0.7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1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73.5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72.8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438889626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Export Pressure Plant static  (GTS) [Trip Point = 96 </a:t>
                      </a:r>
                      <a:r>
                        <a:rPr lang="en-US" sz="900" u="none" strike="noStrike" err="1">
                          <a:effectLst/>
                        </a:rPr>
                        <a:t>barg</a:t>
                      </a:r>
                      <a:r>
                        <a:rPr lang="en-US" sz="900" u="none" strike="noStrike">
                          <a:effectLst/>
                        </a:rPr>
                        <a:t>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3.5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4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84.0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80.5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201152973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Comp. Suction Temp (degF) [Trip Point = 338F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0.02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0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103.17 </a:t>
                      </a:r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103.15 </a:t>
                      </a:r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344021845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Comp. Discharge Temp (degF) [Trip Point = 338F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31.12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1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264.75 </a:t>
                      </a:r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233.63</a:t>
                      </a:r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151961154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urbine Exhaust Temp (EGT) (degF) [Trip Point = 1427F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41.64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1,331.3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1,289.69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2619234142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Compressor Suction Flow (MMSCF) [Trip Point = NA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16.3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1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149.3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133.0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277629089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Gas Heat Exchanger (Fin-Fan cooler) outlet Temp. [Trip Point = 122F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6.74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7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97.34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90.6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675895773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Anti-Surge Valve % Opening [Trip Point = 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- 0.12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-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0.01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  0.14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183976003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Vibration - Radial x-vibr. HP Compressor NDE [Trip Point = 69um pp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0.0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0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6.9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  6.86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972516730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Vibration - Radial vibration HP Compressor DE [Trip Point = 69um pp]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0.19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8.5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  8.34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856370759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Vibration - Axial displacement HP compressor [Trip Point = -/=0.6mm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0.0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10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0.2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  0.25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2986348589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Bearing Temperature (Non-Drive End) [Trip Point = 248F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6.1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223.88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217.7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2307730046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hrust Bearing temperature [Trip Point = 248F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2.6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135.49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132.82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983680945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Driver (Gas Turbine) Speed [Trip Point = 6500 rpm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488.26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8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6,400.01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5,911.75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160115148"/>
                  </a:ext>
                </a:extLst>
              </a:tr>
            </a:tbl>
          </a:graphicData>
        </a:graphic>
      </p:graphicFrame>
      <p:graphicFrame>
        <p:nvGraphicFramePr>
          <p:cNvPr id="52" name="Object 51">
            <a:extLst>
              <a:ext uri="{FF2B5EF4-FFF2-40B4-BE49-F238E27FC236}">
                <a16:creationId xmlns:a16="http://schemas.microsoft.com/office/drawing/2014/main" id="{FD8C2A2D-78F1-8B7A-A047-48D73263B7A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87897301"/>
              </p:ext>
            </p:extLst>
          </p:nvPr>
        </p:nvGraphicFramePr>
        <p:xfrm>
          <a:off x="11140393" y="24995"/>
          <a:ext cx="89916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5" imgW="914448" imgH="771380" progId="Excel.Sheet.12">
                  <p:embed/>
                </p:oleObj>
              </mc:Choice>
              <mc:Fallback>
                <p:oleObj name="Worksheet" showAsIcon="1" r:id="rId5" imgW="914448" imgH="771380" progId="Excel.Sheet.12">
                  <p:embed/>
                  <p:pic>
                    <p:nvPicPr>
                      <p:cNvPr id="52" name="Object 51">
                        <a:extLst>
                          <a:ext uri="{FF2B5EF4-FFF2-40B4-BE49-F238E27FC236}">
                            <a16:creationId xmlns:a16="http://schemas.microsoft.com/office/drawing/2014/main" id="{FD8C2A2D-78F1-8B7A-A047-48D73263B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40393" y="24995"/>
                        <a:ext cx="89916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extBox 52">
            <a:extLst>
              <a:ext uri="{FF2B5EF4-FFF2-40B4-BE49-F238E27FC236}">
                <a16:creationId xmlns:a16="http://schemas.microsoft.com/office/drawing/2014/main" id="{5BFA8C9B-B53B-F6B8-CB92-DAE4B38C7EDE}"/>
              </a:ext>
            </a:extLst>
          </p:cNvPr>
          <p:cNvSpPr txBox="1"/>
          <p:nvPr/>
        </p:nvSpPr>
        <p:spPr bwMode="auto">
          <a:xfrm>
            <a:off x="9363456" y="168431"/>
            <a:ext cx="1141499" cy="2685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357708">
              <a:lnSpc>
                <a:spcPct val="140000"/>
              </a:lnSpc>
              <a:spcAft>
                <a:spcPts val="1200"/>
              </a:spcAft>
              <a:buClr>
                <a:schemeClr val="accent2"/>
              </a:buClr>
              <a:buSzPct val="85000"/>
            </a:pPr>
            <a:r>
              <a:rPr lang="en-GB" sz="1400">
                <a:solidFill>
                  <a:schemeClr val="tx1"/>
                </a:solidFill>
                <a:latin typeface="ShellBook" pitchFamily="2" charset="0"/>
              </a:rPr>
              <a:t>RAW Data</a:t>
            </a:r>
          </a:p>
        </p:txBody>
      </p:sp>
      <p:sp>
        <p:nvSpPr>
          <p:cNvPr id="54" name="Arrow: Notched Right 53">
            <a:extLst>
              <a:ext uri="{FF2B5EF4-FFF2-40B4-BE49-F238E27FC236}">
                <a16:creationId xmlns:a16="http://schemas.microsoft.com/office/drawing/2014/main" id="{77E99267-21E8-ABC0-0726-42001B7BFB08}"/>
              </a:ext>
            </a:extLst>
          </p:cNvPr>
          <p:cNvSpPr/>
          <p:nvPr/>
        </p:nvSpPr>
        <p:spPr>
          <a:xfrm>
            <a:off x="10405895" y="243219"/>
            <a:ext cx="716233" cy="229984"/>
          </a:xfrm>
          <a:prstGeom prst="notched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/>
          </a:p>
        </p:txBody>
      </p:sp>
    </p:spTree>
    <p:extLst>
      <p:ext uri="{BB962C8B-B14F-4D97-AF65-F5344CB8AC3E}">
        <p14:creationId xmlns:p14="http://schemas.microsoft.com/office/powerpoint/2010/main" val="270379725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305252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Font Theme">
      <a:majorFont>
        <a:latin typeface="ShellBold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algn="l" defTabSz="357708">
          <a:lnSpc>
            <a:spcPct val="140000"/>
          </a:lnSpc>
          <a:spcAft>
            <a:spcPts val="1200"/>
          </a:spcAft>
          <a:buClr>
            <a:schemeClr val="accent2"/>
          </a:buClr>
          <a:buSzPct val="85000"/>
          <a:buFont typeface="Wingdings" panose="05000000000000000000" pitchFamily="2" charset="2"/>
          <a:buChar char=""/>
          <a:defRPr sz="1400" dirty="0" smtClean="0">
            <a:solidFill>
              <a:schemeClr val="tx1"/>
            </a:solidFill>
            <a:latin typeface="ShellBook" pitchFamily="2" charset="0"/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Presentation1" id="{B33FFE0E-00AD-4930-9763-36BAA6AABC02}" vid="{2F0BE8E0-F5D1-40D2-9DA5-B255D3D217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42</Words>
  <Application>Microsoft Office PowerPoint</Application>
  <PresentationFormat>Widescreen</PresentationFormat>
  <Paragraphs>115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ShellBold</vt:lpstr>
      <vt:lpstr>ShellBook</vt:lpstr>
      <vt:lpstr>ShellLight</vt:lpstr>
      <vt:lpstr>Wingdings</vt:lpstr>
      <vt:lpstr>Shell layouts with footer</vt:lpstr>
      <vt:lpstr>think-cell Slide</vt:lpstr>
      <vt:lpstr>Worksheet</vt:lpstr>
      <vt:lpstr>PowerPoint Presentation</vt:lpstr>
      <vt:lpstr>LPNAG SUCTION PRESSURE DERATING ADDITIONAL 16MMSCFD HEALTHY TURBINE AND COMPRESSOR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TERNAL EXPECTATIONS INTEREST IN RESPECTING NATURE IS DRIVEN BY WELL-ESTABLISHED TOPICS LIKE RECYCLING AND BIODIVERSITY</dc:title>
  <dc:creator>Sani, Mukhtar SPDC-IUC/G/UCS</dc:creator>
  <cp:lastModifiedBy>Sani, Mukhtar SPDC-IUC/G/UCS</cp:lastModifiedBy>
  <cp:revision>2</cp:revision>
  <dcterms:created xsi:type="dcterms:W3CDTF">2024-09-19T06:22:12Z</dcterms:created>
  <dcterms:modified xsi:type="dcterms:W3CDTF">2024-10-15T11:58:07Z</dcterms:modified>
</cp:coreProperties>
</file>